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56" r:id="rId2"/>
    <p:sldId id="257" r:id="rId3"/>
    <p:sldId id="258" r:id="rId4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11" autoAdjust="0"/>
    <p:restoredTop sz="94660"/>
  </p:normalViewPr>
  <p:slideViewPr>
    <p:cSldViewPr snapToGrid="0">
      <p:cViewPr varScale="1">
        <p:scale>
          <a:sx n="57" d="100"/>
          <a:sy n="57" d="100"/>
        </p:scale>
        <p:origin x="64" y="4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706188-4967-43D2-9B4F-AFFE0ABBD449}" type="datetimeFigureOut">
              <a:rPr lang="da-DK" smtClean="0"/>
              <a:t>2025-04-15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8AD7FD-6BAA-4DF2-BC03-C4611C1D297B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167698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8AD7FD-6BAA-4DF2-BC03-C4611C1D297B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106693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2C9073-9BFB-9DC9-EF82-386594D531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26E89BB-64FB-B7FC-8748-390281342E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A42A5D-E99C-7168-AFDB-CFA0E6EEA1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1393-AB3A-4445-98ED-62F149050792}" type="datetimeFigureOut">
              <a:rPr lang="da-DK" smtClean="0"/>
              <a:t>2025-04-14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E52E63-13F2-E23D-CBAB-4642B82783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166BA2-3454-E4CF-7AA0-5A5473FBE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554D-F3CE-4339-B56C-0818D9CFCD4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991965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46CFB-DFDD-7560-27EC-528EFD87BD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8DC4B81-99D6-1FBB-A9A3-2D8B9F6C0F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1892E5-E2FF-6FAE-000E-8E413C6130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1393-AB3A-4445-98ED-62F149050792}" type="datetimeFigureOut">
              <a:rPr lang="da-DK" smtClean="0"/>
              <a:t>2025-04-14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4A6B3A-C3C6-8F94-F34A-847A789455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E0AF74-FD09-4B27-FB51-8888D339F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554D-F3CE-4339-B56C-0818D9CFCD4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764771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B3DEB87-3B24-E4E9-F557-F4A8465A97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857536-78CE-7D98-1285-9F5119A2FF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01A77E-4098-9D42-1B60-39DDFCCAE1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1393-AB3A-4445-98ED-62F149050792}" type="datetimeFigureOut">
              <a:rPr lang="da-DK" smtClean="0"/>
              <a:t>2025-04-14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6AC205-2210-0043-B2EA-71BAC18603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42BBC0-7CFF-5762-DDB0-159FD5885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554D-F3CE-4339-B56C-0818D9CFCD4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079092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D0831-E55E-6C12-2C67-07296EFC1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9E2B81-6BE1-7E27-B851-DFE391C59E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E98DFB-A7F4-BBBD-D6D8-F7F3CB31AF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1393-AB3A-4445-98ED-62F149050792}" type="datetimeFigureOut">
              <a:rPr lang="da-DK" smtClean="0"/>
              <a:t>2025-04-14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6A3934-EB4E-FE56-C230-2AA127105B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DAC4CB-C009-3C15-CC7E-D051F3601D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554D-F3CE-4339-B56C-0818D9CFCD4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19774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B7DBDC-D61A-DF84-70A5-DE423D043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359393-89EE-BFE4-EAEA-3049C78DF2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5C157C-D91A-4EAD-D5C5-C4CEB9022A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1393-AB3A-4445-98ED-62F149050792}" type="datetimeFigureOut">
              <a:rPr lang="da-DK" smtClean="0"/>
              <a:t>2025-04-14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0A835E-5B1A-D260-72CB-907AF1B3D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BA09ED-ACD2-31E4-F2B5-B95F4EC01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554D-F3CE-4339-B56C-0818D9CFCD4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910233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701F48-31C7-90C9-E6AB-A955C9AA70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CDE1EF-EE47-95B9-4F5A-B75BDA87F9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8BA124-677F-59E8-A92E-E9B5838564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CCA018-1F8B-F11E-227B-7DC61BA1FA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1393-AB3A-4445-98ED-62F149050792}" type="datetimeFigureOut">
              <a:rPr lang="da-DK" smtClean="0"/>
              <a:t>2025-04-14</a:t>
            </a:fld>
            <a:endParaRPr lang="da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50A4EB-ABA1-7DE7-E649-8CC7FB721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2A62BA-5A2B-7259-9711-535771CAD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554D-F3CE-4339-B56C-0818D9CFCD4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17535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C2579-CD5F-2984-083E-9DF564BA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D6DAB5-2017-F76E-64FD-1156D7E722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879548-5FDD-DE1F-FC1E-FB88C7C939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C8BB52-00E6-6930-7FCE-AE64BD80492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670C995-0C29-805B-3E90-D9EA9142D3E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5071E3C-9D63-1F4C-B36B-B405B95ECF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1393-AB3A-4445-98ED-62F149050792}" type="datetimeFigureOut">
              <a:rPr lang="da-DK" smtClean="0"/>
              <a:t>2025-04-14</a:t>
            </a:fld>
            <a:endParaRPr lang="da-DK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C77386-81A7-237D-81EF-66172C53F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AD6652-BD35-B940-3D77-F4D6591CC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554D-F3CE-4339-B56C-0818D9CFCD4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095373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E37A01-7D5B-F0F4-403E-1F6F264E3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AA7746-5012-F35D-5E65-AF435CEC03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1393-AB3A-4445-98ED-62F149050792}" type="datetimeFigureOut">
              <a:rPr lang="da-DK" smtClean="0"/>
              <a:t>2025-04-14</a:t>
            </a:fld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869A4E-4D0C-5E12-561C-B3C0B1339F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CA8FAC-C0BE-9F7C-BED6-2B982F915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554D-F3CE-4339-B56C-0818D9CFCD4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38779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7F7FD7-D8FA-E9DE-DB0C-D4B535C56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1393-AB3A-4445-98ED-62F149050792}" type="datetimeFigureOut">
              <a:rPr lang="da-DK" smtClean="0"/>
              <a:t>2025-04-14</a:t>
            </a:fld>
            <a:endParaRPr lang="da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C4E65-DAED-8DEC-9CD2-CEC834AF3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252E56-F8BF-8185-BE1F-3DD67FACA8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554D-F3CE-4339-B56C-0818D9CFCD4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564343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EA1AC-01DD-23C8-EADC-8DF4345ED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C5CD57-7070-FB00-DEC0-FB7A3B861E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EDFEC7-CABF-6343-1483-9656C9E70D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1619E3-82C8-6B94-B917-0C879B7910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1393-AB3A-4445-98ED-62F149050792}" type="datetimeFigureOut">
              <a:rPr lang="da-DK" smtClean="0"/>
              <a:t>2025-04-14</a:t>
            </a:fld>
            <a:endParaRPr lang="da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622CD3-339C-4CD3-7FE9-DCC2D68B8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B6E9FB-62F1-59F9-DE9B-1D0309446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554D-F3CE-4339-B56C-0818D9CFCD4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4854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95D2D2-15DE-D2D8-3214-3F94ECA89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0ED5507-3D83-5499-D9E2-9D84AD836D7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C26CF5-EB47-EE27-8CD6-86547CF2AB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8F414C-F93D-E50C-8262-74AD36D56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1393-AB3A-4445-98ED-62F149050792}" type="datetimeFigureOut">
              <a:rPr lang="da-DK" smtClean="0"/>
              <a:t>2025-04-14</a:t>
            </a:fld>
            <a:endParaRPr lang="da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230FDD-9C0B-4352-4C90-28FDCAC617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7CF92B-6388-EC5B-2214-1DF58BA91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4554D-F3CE-4339-B56C-0818D9CFCD4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01434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FC3940A-B4EB-2FB9-27CC-9B8A993024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9531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8" imgH="408" progId="TCLayout.ActiveDocument.1">
                  <p:embed/>
                </p:oleObj>
              </mc:Choice>
              <mc:Fallback>
                <p:oleObj name="think-cell Slide" r:id="rId14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7A48B10-C099-EC89-7B1A-94D4CDB15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CAB011-D049-D816-B197-8962297E6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CC33EA-E027-A68C-A9AB-71159B5A99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7251393-AB3A-4445-98ED-62F149050792}" type="datetimeFigureOut">
              <a:rPr lang="da-DK" smtClean="0"/>
              <a:t>2025-04-14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D543BC-9F54-DEE9-57E1-88545E0E0B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C5D4DA-4CA6-A68B-CE20-B74D79247E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F94554D-F3CE-4339-B56C-0818D9CFCD4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56847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646E58C-A457-F702-1726-E72BBD8E14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528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F573BA-1ED2-C3ED-749C-EB4F1E885AA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a-DK" dirty="0" err="1"/>
              <a:t>Beslysning</a:t>
            </a:r>
            <a:endParaRPr lang="da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654F43-E3B0-4608-68F3-22BC0BE90C8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823489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Rectangle 217">
            <a:extLst>
              <a:ext uri="{FF2B5EF4-FFF2-40B4-BE49-F238E27FC236}">
                <a16:creationId xmlns:a16="http://schemas.microsoft.com/office/drawing/2014/main" id="{A7AE9375-4664-4DB2-922D-2782A6E439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EE504C98-6397-41C1-A8D8-2D9C4ED307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" y="2026340"/>
            <a:ext cx="6095999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6AED08A2-EEC9-D014-212F-C93C9C884766}"/>
              </a:ext>
            </a:extLst>
          </p:cNvPr>
          <p:cNvSpPr txBox="1"/>
          <p:nvPr/>
        </p:nvSpPr>
        <p:spPr>
          <a:xfrm>
            <a:off x="1295400" y="2288833"/>
            <a:ext cx="4800600" cy="37115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a-DK" sz="1100" b="1" noProof="0" dirty="0">
                <a:solidFill>
                  <a:schemeClr val="bg1"/>
                </a:solidFill>
              </a:rPr>
              <a:t>Faktaboks</a:t>
            </a:r>
            <a:r>
              <a:rPr lang="da-DK" sz="1100" noProof="0" dirty="0">
                <a:solidFill>
                  <a:schemeClr val="bg1"/>
                </a:solidFill>
              </a:rPr>
              <a:t>: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100" noProof="0" dirty="0">
                <a:solidFill>
                  <a:schemeClr val="bg1"/>
                </a:solidFill>
              </a:rPr>
              <a:t>Belysning af cykelsti og vej, for at øge trafiksikkerheden og tryghed ved at færdes efter mørkets frembrud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100" noProof="0" dirty="0">
                <a:solidFill>
                  <a:schemeClr val="bg1"/>
                </a:solidFill>
              </a:rPr>
              <a:t>27 x 6-meter høje master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100" noProof="0" dirty="0">
                <a:solidFill>
                  <a:schemeClr val="bg1"/>
                </a:solidFill>
              </a:rPr>
              <a:t>Fordeles på begge sider af vejen (opmærkes inden etablering)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100" dirty="0">
                <a:solidFill>
                  <a:schemeClr val="bg1"/>
                </a:solidFill>
              </a:rPr>
              <a:t>Bevægelsessensor styring</a:t>
            </a:r>
          </a:p>
          <a:p>
            <a:pPr marL="800100"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100" dirty="0">
                <a:solidFill>
                  <a:schemeClr val="bg1"/>
                </a:solidFill>
              </a:rPr>
              <a:t>Gadelyset lyser kun, når en bilist, cyklist eller fodgænger nærmer sig; så dæmpes de automatisk til et forudindstillet niveau igen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100" dirty="0">
                <a:solidFill>
                  <a:schemeClr val="bg1"/>
                </a:solidFill>
              </a:rPr>
              <a:t>Hedensted Kommune, Just og Grundejerforeningen deler indkøb- og etableringsomkostningerne ligeligt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100" noProof="0" dirty="0">
                <a:solidFill>
                  <a:schemeClr val="bg1"/>
                </a:solidFill>
              </a:rPr>
              <a:t>Det svarer til ca. 1.000 kr. pr. husstand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100" noProof="0" dirty="0">
                <a:solidFill>
                  <a:schemeClr val="bg1"/>
                </a:solidFill>
              </a:rPr>
              <a:t>Vi foreslår at vi låner pengene af os selv – fra Vej Fonden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100" noProof="0" dirty="0">
                <a:solidFill>
                  <a:schemeClr val="bg1"/>
                </a:solidFill>
              </a:rPr>
              <a:t>Etabling i indeværende år (2025)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100" dirty="0">
                <a:solidFill>
                  <a:schemeClr val="bg1"/>
                </a:solidFill>
              </a:rPr>
              <a:t>Hedensted Kommune varetager drifts- og vedligeholdelses omkostninger</a:t>
            </a:r>
          </a:p>
          <a:p>
            <a:pPr marL="34290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100" noProof="0" dirty="0">
                <a:solidFill>
                  <a:schemeClr val="bg1"/>
                </a:solidFill>
              </a:rPr>
              <a:t>Hjertestarter til legeplads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100" noProof="0" dirty="0">
              <a:solidFill>
                <a:schemeClr val="bg1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bg1"/>
              </a:solidFill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bg1"/>
              </a:solidFill>
            </a:endParaRPr>
          </a:p>
          <a:p>
            <a:pPr marL="2857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bg1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9847185-485F-3B54-817F-18F06B63362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-1" r="866"/>
          <a:stretch/>
        </p:blipFill>
        <p:spPr>
          <a:xfrm>
            <a:off x="7300829" y="369913"/>
            <a:ext cx="2277367" cy="2784532"/>
          </a:xfrm>
          <a:prstGeom prst="rect">
            <a:avLst/>
          </a:prstGeom>
        </p:spPr>
      </p:pic>
      <p:sp>
        <p:nvSpPr>
          <p:cNvPr id="220" name="Rectangle 219">
            <a:extLst>
              <a:ext uri="{FF2B5EF4-FFF2-40B4-BE49-F238E27FC236}">
                <a16:creationId xmlns:a16="http://schemas.microsoft.com/office/drawing/2014/main" id="{C87417AF-190E-4D6E-AFA6-7D3E84B0B4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1603" y="182859"/>
            <a:ext cx="3996261" cy="3177496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716856D-4179-FF35-73D8-574928FAC16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713" t="1560"/>
          <a:stretch/>
        </p:blipFill>
        <p:spPr>
          <a:xfrm>
            <a:off x="8100127" y="4018578"/>
            <a:ext cx="3527174" cy="2207910"/>
          </a:xfrm>
          <a:prstGeom prst="rect">
            <a:avLst/>
          </a:prstGeom>
        </p:spPr>
      </p:pic>
      <p:sp>
        <p:nvSpPr>
          <p:cNvPr id="221" name="Rectangle 220">
            <a:extLst>
              <a:ext uri="{FF2B5EF4-FFF2-40B4-BE49-F238E27FC236}">
                <a16:creationId xmlns:a16="http://schemas.microsoft.com/office/drawing/2014/main" id="{80B30ED8-273E-4C07-8568-2FE5CC5C4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825071" y="3543213"/>
            <a:ext cx="3996261" cy="3177496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720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B761509-3B9A-49A6-A84B-C3D8681169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1219199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6" name="Freeform: Shape 5">
            <a:extLst>
              <a:ext uri="{FF2B5EF4-FFF2-40B4-BE49-F238E27FC236}">
                <a16:creationId xmlns:a16="http://schemas.microsoft.com/office/drawing/2014/main" id="{91DE43FD-EB47-414A-B0AB-169B0FFFA5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272922" cy="6858000"/>
          </a:xfrm>
          <a:custGeom>
            <a:avLst/>
            <a:gdLst>
              <a:gd name="connsiteX0" fmla="*/ 0 w 9272922"/>
              <a:gd name="connsiteY0" fmla="*/ 0 h 6858000"/>
              <a:gd name="connsiteX1" fmla="*/ 1733417 w 9272922"/>
              <a:gd name="connsiteY1" fmla="*/ 0 h 6858000"/>
              <a:gd name="connsiteX2" fmla="*/ 3307976 w 9272922"/>
              <a:gd name="connsiteY2" fmla="*/ 0 h 6858000"/>
              <a:gd name="connsiteX3" fmla="*/ 8126249 w 9272922"/>
              <a:gd name="connsiteY3" fmla="*/ 0 h 6858000"/>
              <a:gd name="connsiteX4" fmla="*/ 8138896 w 9272922"/>
              <a:gd name="connsiteY4" fmla="*/ 31774 h 6858000"/>
              <a:gd name="connsiteX5" fmla="*/ 9193904 w 9272922"/>
              <a:gd name="connsiteY5" fmla="*/ 2682457 h 6858000"/>
              <a:gd name="connsiteX6" fmla="*/ 9193904 w 9272922"/>
              <a:gd name="connsiteY6" fmla="*/ 3752208 h 6858000"/>
              <a:gd name="connsiteX7" fmla="*/ 8036400 w 9272922"/>
              <a:gd name="connsiteY7" fmla="*/ 6660411 h 6858000"/>
              <a:gd name="connsiteX8" fmla="*/ 7957938 w 9272922"/>
              <a:gd name="connsiteY8" fmla="*/ 6857542 h 6858000"/>
              <a:gd name="connsiteX9" fmla="*/ 3307976 w 9272922"/>
              <a:gd name="connsiteY9" fmla="*/ 6857542 h 6858000"/>
              <a:gd name="connsiteX10" fmla="*/ 3307976 w 9272922"/>
              <a:gd name="connsiteY10" fmla="*/ 6858000 h 6858000"/>
              <a:gd name="connsiteX11" fmla="*/ 0 w 9272922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272922" h="6858000">
                <a:moveTo>
                  <a:pt x="0" y="0"/>
                </a:moveTo>
                <a:lnTo>
                  <a:pt x="1733417" y="0"/>
                </a:lnTo>
                <a:lnTo>
                  <a:pt x="3307976" y="0"/>
                </a:lnTo>
                <a:lnTo>
                  <a:pt x="8126249" y="0"/>
                </a:lnTo>
                <a:lnTo>
                  <a:pt x="8138896" y="31774"/>
                </a:lnTo>
                <a:cubicBezTo>
                  <a:pt x="9193904" y="2682457"/>
                  <a:pt x="9193904" y="2682457"/>
                  <a:pt x="9193904" y="2682457"/>
                </a:cubicBezTo>
                <a:cubicBezTo>
                  <a:pt x="9299262" y="2988100"/>
                  <a:pt x="9299262" y="3446565"/>
                  <a:pt x="9193904" y="3752208"/>
                </a:cubicBezTo>
                <a:cubicBezTo>
                  <a:pt x="8709916" y="4968215"/>
                  <a:pt x="8331802" y="5918220"/>
                  <a:pt x="8036400" y="6660411"/>
                </a:cubicBezTo>
                <a:lnTo>
                  <a:pt x="7957938" y="6857542"/>
                </a:lnTo>
                <a:lnTo>
                  <a:pt x="3307976" y="6857542"/>
                </a:lnTo>
                <a:lnTo>
                  <a:pt x="3307976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395BCA2-2D3A-9021-0C87-133EACB80B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4152" y="643466"/>
            <a:ext cx="4606553" cy="5566833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58495BCC-CE77-4CC2-952E-846F41119F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160561" y="1075188"/>
            <a:ext cx="1562267" cy="1172973"/>
            <a:chOff x="9160561" y="1075188"/>
            <a:chExt cx="1562267" cy="1172973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B42538B-E30F-4967-A6C1-8EBA775F4D6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9160561" y="1423846"/>
              <a:ext cx="935037" cy="8243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9A6BD9AC-4DE7-4B20-8547-4E3B375C21F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9960661" y="1075188"/>
              <a:ext cx="762167" cy="6719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184689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71</TotalTime>
  <Words>115</Words>
  <Application>Microsoft Office PowerPoint</Application>
  <PresentationFormat>Widescreen</PresentationFormat>
  <Paragraphs>17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ptos</vt:lpstr>
      <vt:lpstr>Aptos Display</vt:lpstr>
      <vt:lpstr>Arial</vt:lpstr>
      <vt:lpstr>Office Theme</vt:lpstr>
      <vt:lpstr>think-cell Slide</vt:lpstr>
      <vt:lpstr>Beslysning</vt:lpstr>
      <vt:lpstr>PowerPoint Presentation</vt:lpstr>
      <vt:lpstr>PowerPoint Presentation</vt:lpstr>
    </vt:vector>
  </TitlesOfParts>
  <Company>Fertin Pharm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K Anne Kathrine Aistrup Mikkelsen</dc:creator>
  <cp:lastModifiedBy>ANK Anne Kathrine Aistrup Mikkelsen</cp:lastModifiedBy>
  <cp:revision>3</cp:revision>
  <dcterms:created xsi:type="dcterms:W3CDTF">2025-04-14T07:09:38Z</dcterms:created>
  <dcterms:modified xsi:type="dcterms:W3CDTF">2025-04-22T13:00:38Z</dcterms:modified>
</cp:coreProperties>
</file>